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51" r:id="rId9"/>
    <p:sldId id="1959" r:id="rId10"/>
    <p:sldId id="1961" r:id="rId11"/>
    <p:sldId id="1953" r:id="rId12"/>
    <p:sldId id="1956" r:id="rId13"/>
  </p:sldIdLst>
  <p:sldSz cx="9144000" cy="6858000" type="screen4x3"/>
  <p:notesSz cx="6858000" cy="9661525"/>
  <p:custShowLst>
    <p:custShow name="Mustermann1" id="0">
      <p:sldLst/>
    </p:custShow>
  </p:custShowLst>
  <p:custDataLst>
    <p:tags r:id="rId16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>
        <p:scale>
          <a:sx n="100" d="100"/>
          <a:sy n="100" d="100"/>
        </p:scale>
        <p:origin x="1901" y="355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7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7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7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7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7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7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7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/>
            <a:t>Auslagern von Web-Scraping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633693" y="55480"/>
        <a:ext cx="2796611" cy="983656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633693" y="1200068"/>
        <a:ext cx="2796611" cy="983656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633693" y="2344657"/>
        <a:ext cx="2796611" cy="983656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633693" y="3489245"/>
        <a:ext cx="2796611" cy="983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Auslagern von Web-Scraping-Code in separate Python-Dateien</a:t>
          </a:r>
        </a:p>
      </dsp:txBody>
      <dsp:txXfrm>
        <a:off x="79179" y="1434150"/>
        <a:ext cx="1398134" cy="1660080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000" kern="1200"/>
            <a:t>z. B. Siege, Unentschieden und Niederlagen in den letzten x Spielen</a:t>
          </a:r>
        </a:p>
      </dsp:txBody>
      <dsp:txXfrm>
        <a:off x="1706056" y="1434150"/>
        <a:ext cx="1398134" cy="1660080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Statistische Datenanalyse</a:t>
          </a:r>
        </a:p>
      </dsp:txBody>
      <dsp:txXfrm>
        <a:off x="3332932" y="1434150"/>
        <a:ext cx="1398134" cy="1660080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 Engineering und Modelling</a:t>
          </a:r>
        </a:p>
      </dsp:txBody>
      <dsp:txXfrm>
        <a:off x="4959808" y="1434150"/>
        <a:ext cx="1398134" cy="1660080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Modellevaluation und Benchmarking</a:t>
          </a:r>
        </a:p>
      </dsp:txBody>
      <dsp:txXfrm>
        <a:off x="6586685" y="1434150"/>
        <a:ext cx="1398134" cy="166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61960" imgH="10047960" progId="">
                  <p:embed/>
                </p:oleObj>
              </mc:Choice>
              <mc:Fallback>
                <p:oleObj name="think-cell Folie" r:id="rId13" imgW="7761960" imgH="100479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1wqtxts1xzle7.cloudfront.net/48117997/bf0229599620160817-8553-1ubbzhr-libre.pdf?1471439562=&amp;response-content-disposition=inline%3B+filename%3D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3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7134952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FFF981D-7BEC-5BA0-617E-78269048FB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1919" y="4095848"/>
            <a:ext cx="6664960" cy="155023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nchmark mit </a:t>
            </a:r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dirty="0" err="1"/>
                  <a:t>McNemar</a:t>
                </a:r>
                <a:r>
                  <a:rPr lang="de-DE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394750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729</Words>
  <Application>Microsoft Office PowerPoint</Application>
  <PresentationFormat>Bildschirmpräsentation (4:3)</PresentationFormat>
  <Paragraphs>211</Paragraphs>
  <Slides>12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  <vt:variant>
        <vt:lpstr>Zielgruppenorientierte Präsentationen</vt:lpstr>
      </vt:variant>
      <vt:variant>
        <vt:i4>1</vt:i4>
      </vt:variant>
    </vt:vector>
  </HeadingPairs>
  <TitlesOfParts>
    <vt:vector size="21" baseType="lpstr">
      <vt:lpstr>Arial</vt:lpstr>
      <vt:lpstr>Calibri</vt:lpstr>
      <vt:lpstr>Cambria Math</vt:lpstr>
      <vt:lpstr>Syntax</vt:lpstr>
      <vt:lpstr>Times</vt:lpstr>
      <vt:lpstr>Wingdings</vt:lpstr>
      <vt:lpstr>Leere Präsentation</vt:lpstr>
      <vt:lpstr>think-cell Folie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Modellsignifikanz</vt:lpstr>
      <vt:lpstr>Modellsignifikanz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Kevin Diec, Vodafone</cp:lastModifiedBy>
  <cp:revision>616</cp:revision>
  <cp:lastPrinted>2010-04-29T14:30:22Z</cp:lastPrinted>
  <dcterms:created xsi:type="dcterms:W3CDTF">2010-04-29T12:39:23Z</dcterms:created>
  <dcterms:modified xsi:type="dcterms:W3CDTF">2023-07-23T08:0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3T08:05:13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a1a07091-f121-441d-9120-f756a9dcb6e3</vt:lpwstr>
  </property>
  <property fmtid="{D5CDD505-2E9C-101B-9397-08002B2CF9AE}" pid="8" name="MSIP_Label_0359f705-2ba0-454b-9cfc-6ce5bcaac040_ContentBits">
    <vt:lpwstr>2</vt:lpwstr>
  </property>
</Properties>
</file>